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charts/chart16.xml" ContentType="application/vnd.openxmlformats-officedocument.drawingml.chart+xml"/>
  <Override PartName="/ppt/tags/tag50.xml" ContentType="application/vnd.openxmlformats-officedocument.presentationml.tags+xml"/>
  <Override PartName="/ppt/charts/chart17.xml" ContentType="application/vnd.openxmlformats-officedocument.drawingml.chart+xml"/>
  <Override PartName="/ppt/tags/tag51.xml" ContentType="application/vnd.openxmlformats-officedocument.presentationml.tags+xml"/>
  <Override PartName="/ppt/charts/chart18.xml" ContentType="application/vnd.openxmlformats-officedocument.drawingml.chart+xml"/>
  <Override PartName="/ppt/tags/tag52.xml" ContentType="application/vnd.openxmlformats-officedocument.presentationml.tags+xml"/>
  <Override PartName="/ppt/charts/chart19.xml" ContentType="application/vnd.openxmlformats-officedocument.drawingml.chart+xml"/>
  <Override PartName="/ppt/tags/tag53.xml" ContentType="application/vnd.openxmlformats-officedocument.presentationml.tags+xml"/>
  <Override PartName="/ppt/charts/chart20.xml" ContentType="application/vnd.openxmlformats-officedocument.drawingml.chart+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tags/tag60.xml" ContentType="application/vnd.openxmlformats-officedocument.presentationml.tags+xml"/>
  <Override PartName="/ppt/charts/chart27.xml" ContentType="application/vnd.openxmlformats-officedocument.drawingml.chart+xml"/>
  <Override PartName="/ppt/tags/tag61.xml" ContentType="application/vnd.openxmlformats-officedocument.presentationml.tags+xml"/>
  <Override PartName="/ppt/charts/chart28.xml" ContentType="application/vnd.openxmlformats-officedocument.drawingml.chart+xml"/>
  <Override PartName="/ppt/tags/tag62.xml" ContentType="application/vnd.openxmlformats-officedocument.presentationml.tags+xml"/>
  <Override PartName="/ppt/charts/chart29.xml" ContentType="application/vnd.openxmlformats-officedocument.drawingml.chart+xml"/>
  <Override PartName="/ppt/tags/tag63.xml" ContentType="application/vnd.openxmlformats-officedocument.presentationml.tags+xml"/>
  <Override PartName="/ppt/charts/chart3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CC3B954A-2079-4119-9AA8-4CC78AD46397}">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Sectors Share and Growth By Brands" id="{265DA989-BC97-4225-A4FC-67A98A3FBF6E}">
          <p14:sldIdLst>
            <p14:sldId id="2147477380"/>
            <p14:sldId id="2147477381"/>
            <p14:sldId id="2147477382"/>
          </p14:sldIdLst>
        </p14:section>
        <p14:section name="Segments Share and Growth By Brands" id="{2CEF97DF-87AB-4229-A1AB-743271510033}">
          <p14:sldIdLst>
            <p14:sldId id="2147477383"/>
            <p14:sldId id="2147477384"/>
            <p14:sldId id="2147477385"/>
          </p14:sldIdLst>
        </p14:section>
        <p14:section name="Price Point Distribution Analysis By Brand" id="{2C270742-0809-4722-B89A-95F0E2DE04E5}">
          <p14:sldIdLst>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436A73-125D-47AC-AAB8-716635A0E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9A5389-6351-4A05-8ACE-3F764BFDF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E45ECE0-78EF-47BD-923A-56C377777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DE91E89-556F-40C0-87E8-C4C4F30B2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355E20-3E79-49D8-A96F-6F76D8D92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40D9EA-0879-4A6F-A8A3-DF006DBDF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5F7DE1-E34E-4F41-8B86-48A3BD693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F67716-C94D-4D86-ABA2-EF1CD8DE44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812899999999999</c:v>
                </c:pt>
                <c:pt idx="1">
                  <c:v>12.4175</c:v>
                </c:pt>
                <c:pt idx="2">
                  <c:v>6.0914999999999999</c:v>
                </c:pt>
                <c:pt idx="3">
                  <c:v>10.7544</c:v>
                </c:pt>
                <c:pt idx="4">
                  <c:v>4.9539</c:v>
                </c:pt>
                <c:pt idx="5">
                  <c:v>4.1436000000000002</c:v>
                </c:pt>
                <c:pt idx="6">
                  <c:v>9.5934000000000008</c:v>
                </c:pt>
              </c:numCache>
            </c:numRef>
          </c:xVal>
          <c:yVal>
            <c:numRef>
              <c:f>Sheet1!$B$2:$B$8</c:f>
              <c:numCache>
                <c:formatCode>General</c:formatCode>
                <c:ptCount val="7"/>
                <c:pt idx="0">
                  <c:v>1.321</c:v>
                </c:pt>
                <c:pt idx="1">
                  <c:v>1.44</c:v>
                </c:pt>
                <c:pt idx="2">
                  <c:v>0.55300000000000005</c:v>
                </c:pt>
                <c:pt idx="3">
                  <c:v>0.77100000000000002</c:v>
                </c:pt>
                <c:pt idx="4">
                  <c:v>0.46200000000000002</c:v>
                </c:pt>
                <c:pt idx="5">
                  <c:v>0.36899999999999999</c:v>
                </c:pt>
                <c:pt idx="6">
                  <c:v>1.512</c:v>
                </c:pt>
              </c:numCache>
            </c:numRef>
          </c:yVal>
          <c:bubbleSize>
            <c:numRef>
              <c:f>Sheet1!$C$2:$C$8</c:f>
              <c:numCache>
                <c:formatCode>General</c:formatCode>
                <c:ptCount val="7"/>
                <c:pt idx="0">
                  <c:v>972086869</c:v>
                </c:pt>
                <c:pt idx="1">
                  <c:v>184811438</c:v>
                </c:pt>
                <c:pt idx="2">
                  <c:v>126968743</c:v>
                </c:pt>
                <c:pt idx="3">
                  <c:v>114853020</c:v>
                </c:pt>
                <c:pt idx="4">
                  <c:v>36884480</c:v>
                </c:pt>
                <c:pt idx="5">
                  <c:v>35079369</c:v>
                </c:pt>
                <c:pt idx="6">
                  <c:v>31033081</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41717D9-CBCC-4B1C-9BEE-46B31D44B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2D60FE-30B6-43E2-9A7A-A11497176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D8F8D68-4F82-4086-9E67-C7F3A843A4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D36CD63-D5AA-411D-B751-8984229DE5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246D4C-9721-4968-A206-C6153BC16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2CC90C-6870-4DAE-AEFF-3354B5835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B78B946-EAAA-4B68-B4A3-B8E577918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08A071-13EA-4503-8230-539B72992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14499999999999</c:v>
                </c:pt>
                <c:pt idx="1">
                  <c:v>12.489800000000001</c:v>
                </c:pt>
                <c:pt idx="2">
                  <c:v>10.9337</c:v>
                </c:pt>
                <c:pt idx="3">
                  <c:v>9.1037999999999997</c:v>
                </c:pt>
                <c:pt idx="4">
                  <c:v>18.031400000000001</c:v>
                </c:pt>
                <c:pt idx="5">
                  <c:v>8.3902999999999999</c:v>
                </c:pt>
              </c:numCache>
            </c:numRef>
          </c:xVal>
          <c:yVal>
            <c:numRef>
              <c:f>Sheet1!$B$2:$B$7</c:f>
              <c:numCache>
                <c:formatCode>General</c:formatCode>
                <c:ptCount val="6"/>
                <c:pt idx="0">
                  <c:v>1.157</c:v>
                </c:pt>
                <c:pt idx="1">
                  <c:v>0.86799999999999999</c:v>
                </c:pt>
                <c:pt idx="2">
                  <c:v>0.63200000000000001</c:v>
                </c:pt>
                <c:pt idx="3">
                  <c:v>0.91400000000000003</c:v>
                </c:pt>
                <c:pt idx="4">
                  <c:v>0.73899999999999999</c:v>
                </c:pt>
                <c:pt idx="5">
                  <c:v>0.65200000000000002</c:v>
                </c:pt>
              </c:numCache>
            </c:numRef>
          </c:yVal>
          <c:bubbleSize>
            <c:numRef>
              <c:f>Sheet1!$C$2:$C$7</c:f>
              <c:numCache>
                <c:formatCode>General</c:formatCode>
                <c:ptCount val="6"/>
                <c:pt idx="0">
                  <c:v>217880579</c:v>
                </c:pt>
                <c:pt idx="1">
                  <c:v>65466766</c:v>
                </c:pt>
                <c:pt idx="2">
                  <c:v>20499734</c:v>
                </c:pt>
                <c:pt idx="3">
                  <c:v>13711128</c:v>
                </c:pt>
                <c:pt idx="4">
                  <c:v>6491139</c:v>
                </c:pt>
                <c:pt idx="5">
                  <c:v>385552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B1B9261-269A-4B16-B3D4-AA680CBCF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EA1F42F-C915-4788-B35F-C8687379B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15B8CA7-D9F1-4CD9-A737-DCB692B45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7906591-189C-4EC6-8986-52DC868BB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014F9F7-071C-4E59-9280-102596013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824DCDE-8998-490F-96C9-9ED0EECA6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F5E9A14-E383-4E4E-9A3C-073E674AF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BF380FB-8EB6-4428-9563-FEAD5A4DD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00000000001</c:v>
                </c:pt>
                <c:pt idx="1">
                  <c:v>23.116800000000001</c:v>
                </c:pt>
              </c:numCache>
            </c:numRef>
          </c:xVal>
          <c:yVal>
            <c:numRef>
              <c:f>Sheet1!$B$2:$B$3</c:f>
              <c:numCache>
                <c:formatCode>General</c:formatCode>
                <c:ptCount val="2"/>
                <c:pt idx="0">
                  <c:v>1.069</c:v>
                </c:pt>
                <c:pt idx="1">
                  <c:v>0.66800000000000004</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D2E767-214E-40C3-B492-F0F2E55C40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D6C2FA-DDD2-4B8E-B0BE-41138BB58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A293778-E325-4A02-A760-8D4F9343E2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7B3A79-DE64-46E7-816A-A72FE657F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E2FA96-4BC2-4B5A-B7EE-FE81638A4E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B4770E-D70D-4F4C-8B40-85B0DEBCF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CF497F9-B288-4BA4-B035-43B816CA4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2603FC6-7441-4847-9F6F-F3599CFB0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3999999999999</c:v>
                </c:pt>
                <c:pt idx="1">
                  <c:v>12.590299999999999</c:v>
                </c:pt>
                <c:pt idx="2">
                  <c:v>9.5841999999999992</c:v>
                </c:pt>
                <c:pt idx="3">
                  <c:v>8.9646000000000008</c:v>
                </c:pt>
                <c:pt idx="4">
                  <c:v>17.959800000000001</c:v>
                </c:pt>
                <c:pt idx="5">
                  <c:v>8.4400999999999993</c:v>
                </c:pt>
              </c:numCache>
            </c:numRef>
          </c:xVal>
          <c:yVal>
            <c:numRef>
              <c:f>Sheet1!$B$2:$B$7</c:f>
              <c:numCache>
                <c:formatCode>General</c:formatCode>
                <c:ptCount val="6"/>
                <c:pt idx="0">
                  <c:v>1.105</c:v>
                </c:pt>
                <c:pt idx="1">
                  <c:v>0.90900000000000003</c:v>
                </c:pt>
                <c:pt idx="2">
                  <c:v>0.66600000000000004</c:v>
                </c:pt>
                <c:pt idx="3">
                  <c:v>0.94</c:v>
                </c:pt>
                <c:pt idx="4">
                  <c:v>0.753</c:v>
                </c:pt>
                <c:pt idx="5">
                  <c:v>0.88500000000000001</c:v>
                </c:pt>
              </c:numCache>
            </c:numRef>
          </c:yVal>
          <c:bubbleSize>
            <c:numRef>
              <c:f>Sheet1!$C$2:$C$7</c:f>
              <c:numCache>
                <c:formatCode>General</c:formatCode>
                <c:ptCount val="6"/>
                <c:pt idx="0">
                  <c:v>71368823</c:v>
                </c:pt>
                <c:pt idx="1">
                  <c:v>22258475</c:v>
                </c:pt>
                <c:pt idx="2">
                  <c:v>5660351</c:v>
                </c:pt>
                <c:pt idx="3">
                  <c:v>5016932</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B0F704-9EFF-471F-B961-50175E222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FD2913-E269-4EAF-BDBD-642EBEDC2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900C5C-3C57-409B-B726-42A1E686E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E37F4F-68DE-4C49-97AB-252B251967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784904-C01E-4741-A801-9909A79A0A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E580F8-6751-4A2D-924D-94B10A6F2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FEB19A2-8384-467F-81B6-321C5D51B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B9EF6E0-00B1-45D7-96F8-3FF5BA1FFB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557099999999998</c:v>
                </c:pt>
                <c:pt idx="1">
                  <c:v>12.683999999999999</c:v>
                </c:pt>
                <c:pt idx="2">
                  <c:v>17.270099999999999</c:v>
                </c:pt>
                <c:pt idx="3">
                  <c:v>10.02</c:v>
                </c:pt>
                <c:pt idx="4">
                  <c:v>10.835599999999999</c:v>
                </c:pt>
                <c:pt idx="5">
                  <c:v>8.0243000000000002</c:v>
                </c:pt>
              </c:numCache>
            </c:numRef>
          </c:xVal>
          <c:yVal>
            <c:numRef>
              <c:f>Sheet1!$B$2:$B$7</c:f>
              <c:numCache>
                <c:formatCode>General</c:formatCode>
                <c:ptCount val="6"/>
                <c:pt idx="0">
                  <c:v>1.2</c:v>
                </c:pt>
                <c:pt idx="1">
                  <c:v>0.81100000000000005</c:v>
                </c:pt>
                <c:pt idx="2">
                  <c:v>0.79900000000000004</c:v>
                </c:pt>
                <c:pt idx="3">
                  <c:v>0.77600000000000002</c:v>
                </c:pt>
                <c:pt idx="4">
                  <c:v>0.72299999999999998</c:v>
                </c:pt>
                <c:pt idx="5">
                  <c:v>0.47099999999999997</c:v>
                </c:pt>
              </c:numCache>
            </c:numRef>
          </c:yVal>
          <c:bubbleSize>
            <c:numRef>
              <c:f>Sheet1!$C$2:$C$7</c:f>
              <c:numCache>
                <c:formatCode>General</c:formatCode>
                <c:ptCount val="6"/>
                <c:pt idx="0">
                  <c:v>503759226</c:v>
                </c:pt>
                <c:pt idx="1">
                  <c:v>116928743</c:v>
                </c:pt>
                <c:pt idx="2">
                  <c:v>28880007</c:v>
                </c:pt>
                <c:pt idx="3">
                  <c:v>17321953</c:v>
                </c:pt>
                <c:pt idx="4">
                  <c:v>7619052</c:v>
                </c:pt>
                <c:pt idx="5">
                  <c:v>720966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395F9A-181B-4626-A050-A46513AA00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2D4E63BC-DDB5-429C-88B6-D6B9452DE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52C0875-7855-4340-971E-AB5D82EB32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AFB38B36-392C-4DA7-B20E-BCBC40F91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4B8ABD2-C7D7-4812-9F14-AA0B611E0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C1AF3F4-A203-400C-B868-67C94FF12A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7B0DFF7-D6CA-49C3-B6C5-C306A0C0E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A4A725B-59F5-4803-B699-3AF264D3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128A0F-022E-472E-80B3-395BB31D51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E2E590-7BC0-4089-8D29-91F1BDEDBE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40FA6E4-20E1-43F4-88A5-63CBFB704B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86FEC5-8866-4311-A85D-F37074EACD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D62AE0-18D2-47D2-9AD3-EE8F3AC4F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BEDF3D-B4D3-46CC-BA6C-2BC5A6CDB5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495063E-5B1A-46AE-9A2E-2AF2EA5D54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5CA6E2C-B101-4D86-8B52-0C66E4222B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675</c:v>
                </c:pt>
                <c:pt idx="3">
                  <c:v>11.0657</c:v>
                </c:pt>
                <c:pt idx="4">
                  <c:v>10.835800000000001</c:v>
                </c:pt>
                <c:pt idx="5">
                  <c:v>2.9802</c:v>
                </c:pt>
              </c:numCache>
            </c:numRef>
          </c:xVal>
          <c:yVal>
            <c:numRef>
              <c:f>Sheet1!$B$2:$B$7</c:f>
              <c:numCache>
                <c:formatCode>General</c:formatCode>
                <c:ptCount val="6"/>
                <c:pt idx="0">
                  <c:v>1.3759999999999999</c:v>
                </c:pt>
                <c:pt idx="1">
                  <c:v>0.86699999999999999</c:v>
                </c:pt>
                <c:pt idx="2">
                  <c:v>0.879</c:v>
                </c:pt>
                <c:pt idx="3">
                  <c:v>0.83</c:v>
                </c:pt>
                <c:pt idx="4">
                  <c:v>0.78200000000000003</c:v>
                </c:pt>
                <c:pt idx="5">
                  <c:v>0.113</c:v>
                </c:pt>
              </c:numCache>
            </c:numRef>
          </c:yVal>
          <c:bubbleSize>
            <c:numRef>
              <c:f>Sheet1!$C$2:$C$7</c:f>
              <c:numCache>
                <c:formatCode>General</c:formatCode>
                <c:ptCount val="6"/>
                <c:pt idx="0">
                  <c:v>118612654</c:v>
                </c:pt>
                <c:pt idx="1">
                  <c:v>46786767</c:v>
                </c:pt>
                <c:pt idx="2">
                  <c:v>8886004</c:v>
                </c:pt>
                <c:pt idx="3">
                  <c:v>7744389</c:v>
                </c:pt>
                <c:pt idx="4">
                  <c:v>7538613</c:v>
                </c:pt>
                <c:pt idx="5">
                  <c:v>259742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B$2:$B$5</c:f>
              <c:numCache>
                <c:formatCode>General</c:formatCode>
                <c:ptCount val="4"/>
                <c:pt idx="0">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C$2:$C$5</c:f>
              <c:numCache>
                <c:formatCode>General</c:formatCode>
                <c:ptCount val="4"/>
                <c:pt idx="0">
                  <c:v>21.661100000000001</c:v>
                </c:pt>
                <c:pt idx="1">
                  <c:v>24.325600000000001</c:v>
                </c:pt>
                <c:pt idx="2">
                  <c:v>4.585</c:v>
                </c:pt>
                <c:pt idx="3">
                  <c:v>11.39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D$2:$D$5</c:f>
              <c:numCache>
                <c:formatCode>General</c:formatCode>
                <c:ptCount val="4"/>
                <c:pt idx="0">
                  <c:v>41.50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E$2:$E$5</c:f>
              <c:numCache>
                <c:formatCode>General</c:formatCode>
                <c:ptCount val="4"/>
                <c:pt idx="0">
                  <c:v>27.7345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F$2:$F$5</c:f>
              <c:numCache>
                <c:formatCode>General</c:formatCode>
                <c:ptCount val="4"/>
                <c:pt idx="0">
                  <c:v>39.3269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G$2:$G$5</c:f>
              <c:numCache>
                <c:formatCode>General</c:formatCode>
                <c:ptCount val="4"/>
                <c:pt idx="0">
                  <c:v>12.43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H$2:$H$5</c:f>
              <c:numCache>
                <c:formatCode>General</c:formatCode>
                <c:ptCount val="4"/>
                <c:pt idx="0">
                  <c:v>36.7325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I$2:$I$5</c:f>
              <c:numCache>
                <c:formatCode>General</c:formatCode>
                <c:ptCount val="4"/>
                <c:pt idx="0">
                  <c:v>12.6982</c:v>
                </c:pt>
                <c:pt idx="1">
                  <c:v>10.814399999999999</c:v>
                </c:pt>
                <c:pt idx="2">
                  <c:v>6.1608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J$2:$J$5</c:f>
              <c:numCache>
                <c:formatCode>General</c:formatCode>
                <c:ptCount val="4"/>
                <c:pt idx="0">
                  <c:v>7.3722000000000003</c:v>
                </c:pt>
                <c:pt idx="2">
                  <c:v>6.5880000000000001</c:v>
                </c:pt>
                <c:pt idx="3">
                  <c:v>9.946400000000000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K$2:$K$5</c:f>
              <c:numCache>
                <c:formatCode>General</c:formatCode>
                <c:ptCount val="4"/>
                <c:pt idx="0">
                  <c:v>14.763</c:v>
                </c:pt>
                <c:pt idx="1">
                  <c:v>9.7866</c:v>
                </c:pt>
                <c:pt idx="2">
                  <c:v>6.4199000000000002</c:v>
                </c:pt>
                <c:pt idx="3">
                  <c:v>7.589299999999999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2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L$2:$L$5</c:f>
              <c:numCache>
                <c:formatCode>General</c:formatCode>
                <c:ptCount val="4"/>
                <c:pt idx="0">
                  <c:v>31.26419999999999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M$2:$M$5</c:f>
              <c:numCache>
                <c:formatCode>General</c:formatCode>
                <c:ptCount val="4"/>
                <c:pt idx="0">
                  <c:v>19.234999999999999</c:v>
                </c:pt>
                <c:pt idx="1">
                  <c:v>16.77570000000000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N$2:$N$5</c:f>
              <c:numCache>
                <c:formatCode>General</c:formatCode>
                <c:ptCount val="4"/>
                <c:pt idx="0">
                  <c:v>20.08510000000000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O$2:$O$5</c:f>
              <c:numCache>
                <c:formatCode>General</c:formatCode>
                <c:ptCount val="4"/>
                <c:pt idx="0">
                  <c:v>25.250299999999999</c:v>
                </c:pt>
                <c:pt idx="1">
                  <c:v>16.735199999999999</c:v>
                </c:pt>
                <c:pt idx="3">
                  <c:v>11.511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B$2:$B$4</c:f>
              <c:numCache>
                <c:formatCode>General</c:formatCode>
                <c:ptCount val="3"/>
                <c:pt idx="2">
                  <c:v>23.1167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Schick</c:v>
                </c:pt>
                <c:pt idx="2">
                  <c:v>Harry's</c:v>
                </c:pt>
              </c:strCache>
            </c:strRef>
          </c:cat>
          <c:val>
            <c:numRef>
              <c:f>Sheet1!$C$2:$C$4</c:f>
              <c:numCache>
                <c:formatCode>General</c:formatCode>
                <c:ptCount val="3"/>
                <c:pt idx="0">
                  <c:v>41.4677999999999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Schick</c:v>
                </c:pt>
                <c:pt idx="2">
                  <c:v>Harry's</c:v>
                </c:pt>
              </c:strCache>
            </c:strRef>
          </c:cat>
          <c:val>
            <c:numRef>
              <c:f>Sheet1!$D$2:$D$4</c:f>
              <c:numCache>
                <c:formatCode>General</c:formatCode>
                <c:ptCount val="3"/>
                <c:pt idx="0">
                  <c:v>39.5174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Schick</c:v>
                </c:pt>
                <c:pt idx="2">
                  <c:v>Harry's</c:v>
                </c:pt>
              </c:strCache>
            </c:strRef>
          </c:cat>
          <c:val>
            <c:numRef>
              <c:f>Sheet1!$E$2:$E$4</c:f>
              <c:numCache>
                <c:formatCode>General</c:formatCode>
                <c:ptCount val="3"/>
                <c:pt idx="0">
                  <c:v>37.0426</c:v>
                </c:pt>
                <c:pt idx="1">
                  <c:v>18.1375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Schick</c:v>
                </c:pt>
                <c:pt idx="2">
                  <c:v>Harry's</c:v>
                </c:pt>
              </c:strCache>
            </c:strRef>
          </c:cat>
          <c:val>
            <c:numRef>
              <c:f>Sheet1!$F$2:$F$4</c:f>
              <c:numCache>
                <c:formatCode>General</c:formatCode>
                <c:ptCount val="3"/>
                <c:pt idx="0">
                  <c:v>22.1710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2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Harry's</c:v>
                </c:pt>
              </c:strCache>
            </c:strRef>
          </c:cat>
          <c:val>
            <c:numRef>
              <c:f>Sheet1!$G$2:$G$4</c:f>
              <c:numCache>
                <c:formatCode>General</c:formatCode>
                <c:ptCount val="3"/>
                <c:pt idx="0">
                  <c:v>31.7252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9CT</c:v>
                </c:pt>
              </c:strCache>
            </c:strRef>
          </c:tx>
          <c:spPr>
            <a:ln w="19050">
              <a:noFill/>
            </a:ln>
          </c:spPr>
          <c:marker>
            <c:symbol val="dash"/>
            <c:size val="20"/>
            <c:spPr>
              <a:solidFill>
                <a:schemeClr val="accent6">
                  <a:lumMod val="60000"/>
                  <a:lumOff val="40000"/>
                </a:schemeClr>
              </a:solidFill>
              <a:ln w="9525">
                <a:noFill/>
              </a:ln>
              <a:effectLst/>
            </c:spPr>
          </c:marker>
          <c:cat>
            <c:strRef>
              <c:f>Sheet1!$A$2:$A$4</c:f>
              <c:strCache>
                <c:ptCount val="3"/>
                <c:pt idx="0">
                  <c:v>Gillette</c:v>
                </c:pt>
                <c:pt idx="1">
                  <c:v>Schick</c:v>
                </c:pt>
                <c:pt idx="2">
                  <c:v>Harry's</c:v>
                </c:pt>
              </c:strCache>
            </c:strRef>
          </c:cat>
          <c:val>
            <c:numRef>
              <c:f>Sheet1!$H$2:$H$4</c:f>
              <c:numCache>
                <c:formatCode>General</c:formatCode>
                <c:ptCount val="3"/>
                <c:pt idx="0">
                  <c:v>28.63540000000000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B$2:$B$7</c:f>
              <c:numCache>
                <c:formatCode>General</c:formatCode>
                <c:ptCount val="6"/>
                <c:pt idx="0">
                  <c:v>11.4547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C$2:$C$7</c:f>
              <c:numCache>
                <c:formatCode>General</c:formatCode>
                <c:ptCount val="6"/>
                <c:pt idx="0">
                  <c:v>18.202500000000001</c:v>
                </c:pt>
                <c:pt idx="1">
                  <c:v>23.9633</c:v>
                </c:pt>
                <c:pt idx="2">
                  <c:v>5.1855000000000002</c:v>
                </c:pt>
                <c:pt idx="4">
                  <c:v>10.5367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D$2:$D$7</c:f>
              <c:numCache>
                <c:formatCode>General</c:formatCode>
                <c:ptCount val="6"/>
                <c:pt idx="0">
                  <c:v>18.41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E$2:$E$7</c:f>
              <c:numCache>
                <c:formatCode>General</c:formatCode>
                <c:ptCount val="6"/>
                <c:pt idx="0">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F$2:$F$7</c:f>
              <c:numCache>
                <c:formatCode>General</c:formatCode>
                <c:ptCount val="6"/>
                <c:pt idx="0">
                  <c:v>14.11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G$2:$G$7</c:f>
              <c:numCache>
                <c:formatCode>General</c:formatCode>
                <c:ptCount val="6"/>
                <c:pt idx="0">
                  <c:v>20.0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H$2:$H$7</c:f>
              <c:numCache>
                <c:formatCode>General</c:formatCode>
                <c:ptCount val="6"/>
                <c:pt idx="0">
                  <c:v>12.264699999999999</c:v>
                </c:pt>
                <c:pt idx="1">
                  <c:v>11.0337</c:v>
                </c:pt>
                <c:pt idx="2">
                  <c:v>6.0476999999999999</c:v>
                </c:pt>
                <c:pt idx="5">
                  <c:v>8.964499999999999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I$2:$I$7</c:f>
              <c:numCache>
                <c:formatCode>General</c:formatCode>
                <c:ptCount val="6"/>
                <c:pt idx="0">
                  <c:v>7.3235000000000001</c:v>
                </c:pt>
                <c:pt idx="3">
                  <c:v>5.0484</c:v>
                </c:pt>
                <c:pt idx="4">
                  <c:v>9.5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J$2:$J$7</c:f>
              <c:numCache>
                <c:formatCode>General</c:formatCode>
                <c:ptCount val="6"/>
                <c:pt idx="0">
                  <c:v>14.105</c:v>
                </c:pt>
                <c:pt idx="1">
                  <c:v>9.8973999999999993</c:v>
                </c:pt>
                <c:pt idx="2">
                  <c:v>6.3727999999999998</c:v>
                </c:pt>
                <c:pt idx="3">
                  <c:v>5.778400000000000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K$2:$K$7</c:f>
              <c:numCache>
                <c:formatCode>General</c:formatCode>
                <c:ptCount val="6"/>
                <c:pt idx="0">
                  <c:v>23.432600000000001</c:v>
                </c:pt>
                <c:pt idx="1">
                  <c:v>16.1880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L$2:$L$7</c:f>
              <c:numCache>
                <c:formatCode>General</c:formatCode>
                <c:ptCount val="6"/>
                <c:pt idx="0">
                  <c:v>19.9968</c:v>
                </c:pt>
                <c:pt idx="4">
                  <c:v>14.589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M$2:$M$7</c:f>
              <c:numCache>
                <c:formatCode>General</c:formatCode>
                <c:ptCount val="6"/>
                <c:pt idx="0">
                  <c:v>25.356000000000002</c:v>
                </c:pt>
                <c:pt idx="2">
                  <c:v>12.101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N$2:$N$7</c:f>
              <c:numCache>
                <c:formatCode>General</c:formatCode>
                <c:ptCount val="6"/>
                <c:pt idx="0">
                  <c:v>21.785399999999999</c:v>
                </c:pt>
                <c:pt idx="1">
                  <c:v>16.609000000000002</c:v>
                </c:pt>
                <c:pt idx="3">
                  <c:v>7.8026</c:v>
                </c:pt>
                <c:pt idx="4">
                  <c:v>10.5593</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B$2:$B$6</c:f>
              <c:numCache>
                <c:formatCode>General</c:formatCode>
                <c:ptCount val="5"/>
                <c:pt idx="0">
                  <c:v>27.0196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C$2:$C$6</c:f>
              <c:numCache>
                <c:formatCode>General</c:formatCode>
                <c:ptCount val="5"/>
                <c:pt idx="0">
                  <c:v>39.3748</c:v>
                </c:pt>
                <c:pt idx="1">
                  <c:v>24.325600000000001</c:v>
                </c:pt>
                <c:pt idx="2">
                  <c:v>25.8588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D$2:$D$6</c:f>
              <c:numCache>
                <c:formatCode>General</c:formatCode>
                <c:ptCount val="5"/>
                <c:pt idx="0">
                  <c:v>41.50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E$2:$E$6</c:f>
              <c:numCache>
                <c:formatCode>General</c:formatCode>
                <c:ptCount val="5"/>
                <c:pt idx="0">
                  <c:v>35.7867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F$2:$F$6</c:f>
              <c:numCache>
                <c:formatCode>General</c:formatCode>
                <c:ptCount val="5"/>
                <c:pt idx="0">
                  <c:v>39.3269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G$2:$G$6</c:f>
              <c:numCache>
                <c:formatCode>General</c:formatCode>
                <c:ptCount val="5"/>
                <c:pt idx="0">
                  <c:v>12.85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H$2:$H$6</c:f>
              <c:numCache>
                <c:formatCode>General</c:formatCode>
                <c:ptCount val="5"/>
                <c:pt idx="0">
                  <c:v>36.7325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I$2:$I$6</c:f>
              <c:numCache>
                <c:formatCode>General</c:formatCode>
                <c:ptCount val="5"/>
                <c:pt idx="0">
                  <c:v>13.165900000000001</c:v>
                </c:pt>
                <c:pt idx="1">
                  <c:v>10.814399999999999</c:v>
                </c:pt>
                <c:pt idx="4">
                  <c:v>9.103799999999999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J$2:$J$6</c:f>
              <c:numCache>
                <c:formatCode>General</c:formatCode>
                <c:ptCount val="5"/>
                <c:pt idx="2">
                  <c:v>10.16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K$2:$K$6</c:f>
              <c:numCache>
                <c:formatCode>General</c:formatCode>
                <c:ptCount val="5"/>
                <c:pt idx="0">
                  <c:v>17.404599999999999</c:v>
                </c:pt>
                <c:pt idx="1">
                  <c:v>10.026400000000001</c:v>
                </c:pt>
                <c:pt idx="3">
                  <c:v>6.8788999999999998</c:v>
                </c:pt>
                <c:pt idx="4">
                  <c:v>8.996299999999999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L$2:$L$6</c:f>
              <c:numCache>
                <c:formatCode>General</c:formatCode>
                <c:ptCount val="5"/>
                <c:pt idx="0">
                  <c:v>23.482399999999998</c:v>
                </c:pt>
                <c:pt idx="1">
                  <c:v>16.77570000000000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Bic</c:v>
                </c:pt>
                <c:pt idx="4">
                  <c:v>Dollar Shave Club</c:v>
                </c:pt>
              </c:strCache>
            </c:strRef>
          </c:cat>
          <c:val>
            <c:numRef>
              <c:f>Sheet1!$M$2:$M$6</c:f>
              <c:numCache>
                <c:formatCode>General</c:formatCode>
                <c:ptCount val="5"/>
                <c:pt idx="0">
                  <c:v>22.314800000000002</c:v>
                </c:pt>
                <c:pt idx="2">
                  <c:v>15.19400000000000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Bic</c:v>
                </c:pt>
                <c:pt idx="4">
                  <c:v>Dollar Shave Club</c:v>
                </c:pt>
              </c:strCache>
            </c:strRef>
          </c:cat>
          <c:val>
            <c:numRef>
              <c:f>Sheet1!$N$2:$N$6</c:f>
              <c:numCache>
                <c:formatCode>General</c:formatCode>
                <c:ptCount val="5"/>
                <c:pt idx="0">
                  <c:v>29.710599999999999</c:v>
                </c:pt>
                <c:pt idx="1">
                  <c:v>17.10790000000000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3F0069-37D6-4CA3-8456-BA68FA5E7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691EBD-5542-4E97-888D-451A7F17F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1821B0-64A9-4501-8501-F6C134B388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49A0ED2-1E1D-40F0-8A70-A2C4CD7811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517E383-8DCC-4FB9-AF4D-7FC5FC7F2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DB4C373-13EB-4169-B823-5465BF3C47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203240-A242-41C1-9E66-AA1C581DB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ECF929D-7583-4850-8F13-3F07972F63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799999999999</c:v>
                </c:pt>
                <c:pt idx="1">
                  <c:v>18.1432</c:v>
                </c:pt>
                <c:pt idx="2">
                  <c:v>23.116800000000001</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7957</c:v>
                </c:pt>
                <c:pt idx="2">
                  <c:v>202579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1">
                  <c:v>23.1167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Harry's</c:v>
                </c:pt>
              </c:strCache>
            </c:strRef>
          </c:cat>
          <c:val>
            <c:numRef>
              <c:f>Sheet1!$C$2:$C$3</c:f>
              <c:numCache>
                <c:formatCode>General</c:formatCode>
                <c:ptCount val="2"/>
                <c:pt idx="0">
                  <c:v>41.46779999999999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cat>
            <c:strRef>
              <c:f>Sheet1!$A$2:$A$3</c:f>
              <c:strCache>
                <c:ptCount val="2"/>
                <c:pt idx="0">
                  <c:v>Gillette</c:v>
                </c:pt>
                <c:pt idx="1">
                  <c:v>Harry's</c:v>
                </c:pt>
              </c:strCache>
            </c:strRef>
          </c:cat>
          <c:val>
            <c:numRef>
              <c:f>Sheet1!$D$2:$D$3</c:f>
              <c:numCache>
                <c:formatCode>General</c:formatCode>
                <c:ptCount val="2"/>
                <c:pt idx="0">
                  <c:v>39.5174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Harry's</c:v>
                </c:pt>
              </c:strCache>
            </c:strRef>
          </c:cat>
          <c:val>
            <c:numRef>
              <c:f>Sheet1!$E$2:$E$3</c:f>
              <c:numCache>
                <c:formatCode>General</c:formatCode>
                <c:ptCount val="2"/>
                <c:pt idx="0">
                  <c:v>37.042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Harry's</c:v>
                </c:pt>
              </c:strCache>
            </c:strRef>
          </c:cat>
          <c:val>
            <c:numRef>
              <c:f>Sheet1!$F$2:$F$3</c:f>
              <c:numCache>
                <c:formatCode>General</c:formatCode>
                <c:ptCount val="2"/>
                <c:pt idx="0">
                  <c:v>28.63540000000000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Schick</c:v>
                </c:pt>
                <c:pt idx="4">
                  <c:v>Dollar Shave Club</c:v>
                </c:pt>
                <c:pt idx="5">
                  <c:v>Equate</c:v>
                </c:pt>
              </c:strCache>
            </c:strRef>
          </c:cat>
          <c:val>
            <c:numRef>
              <c:f>Sheet1!$B$2:$B$7</c:f>
              <c:numCache>
                <c:formatCode>General</c:formatCode>
                <c:ptCount val="6"/>
                <c:pt idx="0">
                  <c:v>36.667000000000002</c:v>
                </c:pt>
                <c:pt idx="1">
                  <c:v>23.9633</c:v>
                </c:pt>
                <c:pt idx="2">
                  <c:v>19.8873</c:v>
                </c:pt>
                <c:pt idx="3">
                  <c:v>26.196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Schick</c:v>
                </c:pt>
                <c:pt idx="4">
                  <c:v>Dollar Shave Club</c:v>
                </c:pt>
                <c:pt idx="5">
                  <c:v>Equate</c:v>
                </c:pt>
              </c:strCache>
            </c:strRef>
          </c:cat>
          <c:val>
            <c:numRef>
              <c:f>Sheet1!$C$2:$C$7</c:f>
              <c:numCache>
                <c:formatCode>General</c:formatCode>
                <c:ptCount val="6"/>
                <c:pt idx="0">
                  <c:v>14.48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Schick</c:v>
                </c:pt>
                <c:pt idx="4">
                  <c:v>Dollar Shave Club</c:v>
                </c:pt>
                <c:pt idx="5">
                  <c:v>Equate</c:v>
                </c:pt>
              </c:strCache>
            </c:strRef>
          </c:cat>
          <c:val>
            <c:numRef>
              <c:f>Sheet1!$D$2:$D$7</c:f>
              <c:numCache>
                <c:formatCode>General</c:formatCode>
                <c:ptCount val="6"/>
                <c:pt idx="0">
                  <c:v>12.678000000000001</c:v>
                </c:pt>
                <c:pt idx="1">
                  <c:v>11.0337</c:v>
                </c:pt>
                <c:pt idx="4">
                  <c:v>8.96449999999999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Schick</c:v>
                </c:pt>
                <c:pt idx="4">
                  <c:v>Dollar Shave Club</c:v>
                </c:pt>
                <c:pt idx="5">
                  <c:v>Equate</c:v>
                </c:pt>
              </c:strCache>
            </c:strRef>
          </c:cat>
          <c:val>
            <c:numRef>
              <c:f>Sheet1!$E$2:$E$7</c:f>
              <c:numCache>
                <c:formatCode>General</c:formatCode>
                <c:ptCount val="6"/>
                <c:pt idx="3">
                  <c:v>9.590199999999999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Schick</c:v>
                </c:pt>
                <c:pt idx="4">
                  <c:v>Dollar Shave Club</c:v>
                </c:pt>
                <c:pt idx="5">
                  <c:v>Equate</c:v>
                </c:pt>
              </c:strCache>
            </c:strRef>
          </c:cat>
          <c:val>
            <c:numRef>
              <c:f>Sheet1!$F$2:$F$7</c:f>
              <c:numCache>
                <c:formatCode>General</c:formatCode>
                <c:ptCount val="6"/>
                <c:pt idx="0">
                  <c:v>16.616499999999998</c:v>
                </c:pt>
                <c:pt idx="1">
                  <c:v>9.9700000000000006</c:v>
                </c:pt>
                <c:pt idx="2">
                  <c:v>6.7359</c:v>
                </c:pt>
                <c:pt idx="4">
                  <c:v>8.9642999999999997</c:v>
                </c:pt>
                <c:pt idx="5">
                  <c:v>8.9443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Schick</c:v>
                </c:pt>
                <c:pt idx="4">
                  <c:v>Dollar Shave Club</c:v>
                </c:pt>
                <c:pt idx="5">
                  <c:v>Equate</c:v>
                </c:pt>
              </c:strCache>
            </c:strRef>
          </c:cat>
          <c:val>
            <c:numRef>
              <c:f>Sheet1!$G$2:$G$7</c:f>
              <c:numCache>
                <c:formatCode>General</c:formatCode>
                <c:ptCount val="6"/>
                <c:pt idx="0">
                  <c:v>23.440300000000001</c:v>
                </c:pt>
                <c:pt idx="1">
                  <c:v>16.1880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Schick</c:v>
                </c:pt>
                <c:pt idx="4">
                  <c:v>Dollar Shave Club</c:v>
                </c:pt>
                <c:pt idx="5">
                  <c:v>Equate</c:v>
                </c:pt>
              </c:strCache>
            </c:strRef>
          </c:cat>
          <c:val>
            <c:numRef>
              <c:f>Sheet1!$H$2:$H$7</c:f>
              <c:numCache>
                <c:formatCode>General</c:formatCode>
                <c:ptCount val="6"/>
                <c:pt idx="0">
                  <c:v>22.3567</c:v>
                </c:pt>
                <c:pt idx="3">
                  <c:v>14.58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Schick</c:v>
                </c:pt>
                <c:pt idx="4">
                  <c:v>Dollar Shave Club</c:v>
                </c:pt>
                <c:pt idx="5">
                  <c:v>Equate</c:v>
                </c:pt>
              </c:strCache>
            </c:strRef>
          </c:cat>
          <c:val>
            <c:numRef>
              <c:f>Sheet1!$I$2:$I$7</c:f>
              <c:numCache>
                <c:formatCode>General</c:formatCode>
                <c:ptCount val="6"/>
                <c:pt idx="0">
                  <c:v>28.535599999999999</c:v>
                </c:pt>
                <c:pt idx="2">
                  <c:v>12.05129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Schick</c:v>
                </c:pt>
                <c:pt idx="4">
                  <c:v>Dollar Shave Club</c:v>
                </c:pt>
                <c:pt idx="5">
                  <c:v>Equate</c:v>
                </c:pt>
              </c:strCache>
            </c:strRef>
          </c:cat>
          <c:val>
            <c:numRef>
              <c:f>Sheet1!$J$2:$J$7</c:f>
              <c:numCache>
                <c:formatCode>General</c:formatCode>
                <c:ptCount val="6"/>
                <c:pt idx="0">
                  <c:v>26.998100000000001</c:v>
                </c:pt>
                <c:pt idx="1">
                  <c:v>16.9502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B$2:$B$6</c:f>
              <c:numCache>
                <c:formatCode>General</c:formatCode>
                <c:ptCount val="5"/>
                <c:pt idx="0">
                  <c:v>10.687900000000001</c:v>
                </c:pt>
                <c:pt idx="1">
                  <c:v>4.6299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C$2:$C$6</c:f>
              <c:numCache>
                <c:formatCode>General</c:formatCode>
                <c:ptCount val="5"/>
                <c:pt idx="0">
                  <c:v>12.5274</c:v>
                </c:pt>
                <c:pt idx="1">
                  <c:v>3.7378</c:v>
                </c:pt>
                <c:pt idx="2">
                  <c:v>8.40279999999999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D$2:$D$6</c:f>
              <c:numCache>
                <c:formatCode>General</c:formatCode>
                <c:ptCount val="5"/>
                <c:pt idx="0">
                  <c:v>15.0417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E$2:$E$6</c:f>
              <c:numCache>
                <c:formatCode>General</c:formatCode>
                <c:ptCount val="5"/>
                <c:pt idx="0">
                  <c:v>14.8953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F$2:$F$6</c:f>
              <c:numCache>
                <c:formatCode>General</c:formatCode>
                <c:ptCount val="5"/>
                <c:pt idx="2">
                  <c:v>18.1865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G$2:$G$6</c:f>
              <c:numCache>
                <c:formatCode>General</c:formatCode>
                <c:ptCount val="5"/>
                <c:pt idx="0">
                  <c:v>20.5308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H$2:$H$6</c:f>
              <c:numCache>
                <c:formatCode>General</c:formatCode>
                <c:ptCount val="5"/>
                <c:pt idx="0">
                  <c:v>20.5812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I$2:$I$6</c:f>
              <c:numCache>
                <c:formatCode>General</c:formatCode>
                <c:ptCount val="5"/>
                <c:pt idx="0">
                  <c:v>10.191800000000001</c:v>
                </c:pt>
                <c:pt idx="1">
                  <c:v>6.1608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J$2:$J$6</c:f>
              <c:numCache>
                <c:formatCode>General</c:formatCode>
                <c:ptCount val="5"/>
                <c:pt idx="0">
                  <c:v>7.1174999999999997</c:v>
                </c:pt>
                <c:pt idx="1">
                  <c:v>6.5505000000000004</c:v>
                </c:pt>
                <c:pt idx="3">
                  <c:v>5.0495999999999999</c:v>
                </c:pt>
                <c:pt idx="4">
                  <c:v>5.9912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K$2:$K$6</c:f>
              <c:numCache>
                <c:formatCode>General</c:formatCode>
                <c:ptCount val="5"/>
                <c:pt idx="0">
                  <c:v>7.2950999999999997</c:v>
                </c:pt>
                <c:pt idx="1">
                  <c:v>5.7991999999999999</c:v>
                </c:pt>
                <c:pt idx="2">
                  <c:v>7.0705999999999998</c:v>
                </c:pt>
                <c:pt idx="4">
                  <c:v>3.8841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2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L$2:$L$6</c:f>
              <c:numCache>
                <c:formatCode>General</c:formatCode>
                <c:ptCount val="5"/>
                <c:pt idx="0">
                  <c:v>31.26419999999999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M$2:$M$6</c:f>
              <c:numCache>
                <c:formatCode>General</c:formatCode>
                <c:ptCount val="5"/>
                <c:pt idx="1">
                  <c:v>5.100100000000000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N$2:$N$6</c:f>
              <c:numCache>
                <c:formatCode>General</c:formatCode>
                <c:ptCount val="5"/>
                <c:pt idx="0">
                  <c:v>12.414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O$2:$O$6</c:f>
              <c:numCache>
                <c:formatCode>General</c:formatCode>
                <c:ptCount val="5"/>
                <c:pt idx="0">
                  <c:v>12.009399999999999</c:v>
                </c:pt>
                <c:pt idx="1">
                  <c:v>5.5366999999999997</c:v>
                </c:pt>
                <c:pt idx="2">
                  <c:v>11.32339999999999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Schick</c:v>
                </c:pt>
                <c:pt idx="2">
                  <c:v>Bic</c:v>
                </c:pt>
              </c:strCache>
            </c:strRef>
          </c:cat>
          <c:val>
            <c:numRef>
              <c:f>Sheet1!$B$2:$B$4</c:f>
              <c:numCache>
                <c:formatCode>General</c:formatCode>
                <c:ptCount val="3"/>
                <c:pt idx="1">
                  <c:v>18.1375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Schick</c:v>
                </c:pt>
                <c:pt idx="2">
                  <c:v>Bic</c:v>
                </c:pt>
              </c:strCache>
            </c:strRef>
          </c:cat>
          <c:val>
            <c:numRef>
              <c:f>Sheet1!$C$2:$C$4</c:f>
              <c:numCache>
                <c:formatCode>General</c:formatCode>
                <c:ptCount val="3"/>
                <c:pt idx="0">
                  <c:v>22.1710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Schick</c:v>
                </c:pt>
                <c:pt idx="2">
                  <c:v>Bic</c:v>
                </c:pt>
              </c:strCache>
            </c:strRef>
          </c:cat>
          <c:val>
            <c:numRef>
              <c:f>Sheet1!$D$2:$D$4</c:f>
              <c:numCache>
                <c:formatCode>General</c:formatCode>
                <c:ptCount val="3"/>
                <c:pt idx="0">
                  <c:v>31.7252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9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Schick</c:v>
                </c:pt>
                <c:pt idx="2">
                  <c:v>Bic</c:v>
                </c:pt>
              </c:strCache>
            </c:strRef>
          </c:cat>
          <c:val>
            <c:numRef>
              <c:f>Sheet1!$E$2:$E$4</c:f>
              <c:numCache>
                <c:formatCode>General</c:formatCode>
                <c:ptCount val="3"/>
                <c:pt idx="2">
                  <c:v>17.71679999999999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10.2883</c:v>
                </c:pt>
                <c:pt idx="1">
                  <c:v>5.8822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11.7058</c:v>
                </c:pt>
                <c:pt idx="1">
                  <c:v>3.4321999999999999</c:v>
                </c:pt>
                <c:pt idx="2">
                  <c:v>2.1772999999999998</c:v>
                </c:pt>
                <c:pt idx="3">
                  <c:v>8.482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15.01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E$2:$E$5</c:f>
              <c:numCache>
                <c:formatCode>General</c:formatCode>
                <c:ptCount val="4"/>
                <c:pt idx="0">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F$2:$F$5</c:f>
              <c:numCache>
                <c:formatCode>General</c:formatCode>
                <c:ptCount val="4"/>
                <c:pt idx="0">
                  <c:v>20.0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G$2:$G$5</c:f>
              <c:numCache>
                <c:formatCode>General</c:formatCode>
                <c:ptCount val="4"/>
                <c:pt idx="0">
                  <c:v>19.9608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H$2:$H$5</c:f>
              <c:numCache>
                <c:formatCode>General</c:formatCode>
                <c:ptCount val="4"/>
                <c:pt idx="0">
                  <c:v>9.9791000000000007</c:v>
                </c:pt>
                <c:pt idx="1">
                  <c:v>6.0476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I$2:$I$5</c:f>
              <c:numCache>
                <c:formatCode>General</c:formatCode>
                <c:ptCount val="4"/>
                <c:pt idx="0">
                  <c:v>6.9634999999999998</c:v>
                </c:pt>
                <c:pt idx="1">
                  <c:v>6.4462000000000002</c:v>
                </c:pt>
                <c:pt idx="2">
                  <c:v>5.04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J$2:$J$5</c:f>
              <c:numCache>
                <c:formatCode>General</c:formatCode>
                <c:ptCount val="4"/>
                <c:pt idx="0">
                  <c:v>6.9783999999999997</c:v>
                </c:pt>
                <c:pt idx="1">
                  <c:v>5.9570999999999996</c:v>
                </c:pt>
                <c:pt idx="2">
                  <c:v>3.972</c:v>
                </c:pt>
                <c:pt idx="3">
                  <c:v>6.491799999999999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K$2:$K$5</c:f>
              <c:numCache>
                <c:formatCode>General</c:formatCode>
                <c:ptCount val="4"/>
                <c:pt idx="1">
                  <c:v>4.9180999999999999</c:v>
                </c:pt>
                <c:pt idx="2">
                  <c:v>1.0034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L$2:$L$5</c:f>
              <c:numCache>
                <c:formatCode>General</c:formatCode>
                <c:ptCount val="4"/>
                <c:pt idx="0">
                  <c:v>13.06279999999999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M$2:$M$5</c:f>
              <c:numCache>
                <c:formatCode>General</c:formatCode>
                <c:ptCount val="4"/>
                <c:pt idx="0">
                  <c:v>12.014200000000001</c:v>
                </c:pt>
                <c:pt idx="1">
                  <c:v>5.3354999999999997</c:v>
                </c:pt>
                <c:pt idx="2">
                  <c:v>5.9797000000000002</c:v>
                </c:pt>
                <c:pt idx="3">
                  <c:v>10.5602</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B$2:$B$6</c:f>
              <c:numCache>
                <c:formatCode>General</c:formatCode>
                <c:ptCount val="5"/>
                <c:pt idx="0">
                  <c:v>44.3502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C$2:$C$6</c:f>
              <c:numCache>
                <c:formatCode>General</c:formatCode>
                <c:ptCount val="5"/>
                <c:pt idx="0">
                  <c:v>12.85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D$2:$D$6</c:f>
              <c:numCache>
                <c:formatCode>General</c:formatCode>
                <c:ptCount val="5"/>
                <c:pt idx="0">
                  <c:v>13.2033</c:v>
                </c:pt>
                <c:pt idx="1">
                  <c:v>10.814399999999999</c:v>
                </c:pt>
                <c:pt idx="3">
                  <c:v>9.10379999999999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E$2:$E$6</c:f>
              <c:numCache>
                <c:formatCode>General</c:formatCode>
                <c:ptCount val="5"/>
                <c:pt idx="0">
                  <c:v>12.9552</c:v>
                </c:pt>
                <c:pt idx="2">
                  <c:v>10.1758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F$2:$F$6</c:f>
              <c:numCache>
                <c:formatCode>General</c:formatCode>
                <c:ptCount val="5"/>
                <c:pt idx="0">
                  <c:v>22.39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G$2:$G$6</c:f>
              <c:numCache>
                <c:formatCode>General</c:formatCode>
                <c:ptCount val="5"/>
                <c:pt idx="0">
                  <c:v>23.483899999999998</c:v>
                </c:pt>
                <c:pt idx="1">
                  <c:v>16.775700000000001</c:v>
                </c:pt>
                <c:pt idx="4">
                  <c:v>18.1746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H$2:$H$6</c:f>
              <c:numCache>
                <c:formatCode>General</c:formatCode>
                <c:ptCount val="5"/>
                <c:pt idx="0">
                  <c:v>21.030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I$2:$I$6</c:f>
              <c:numCache>
                <c:formatCode>General</c:formatCode>
                <c:ptCount val="5"/>
                <c:pt idx="0">
                  <c:v>28.53430000000000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9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J$2:$J$6</c:f>
              <c:numCache>
                <c:formatCode>General</c:formatCode>
                <c:ptCount val="5"/>
                <c:pt idx="0">
                  <c:v>28.914100000000001</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1">
                  <c:v>23.1167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Harry's</c:v>
                </c:pt>
              </c:strCache>
            </c:strRef>
          </c:cat>
          <c:val>
            <c:numRef>
              <c:f>Sheet1!$C$2:$C$3</c:f>
              <c:numCache>
                <c:formatCode>General</c:formatCode>
                <c:ptCount val="2"/>
                <c:pt idx="0">
                  <c:v>44.32050000000000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cat>
            <c:strRef>
              <c:f>Sheet1!$A$2:$A$3</c:f>
              <c:strCache>
                <c:ptCount val="2"/>
                <c:pt idx="0">
                  <c:v>Gillette</c:v>
                </c:pt>
                <c:pt idx="1">
                  <c:v>Harry's</c:v>
                </c:pt>
              </c:strCache>
            </c:strRef>
          </c:cat>
          <c:val>
            <c:numRef>
              <c:f>Sheet1!$D$2:$D$3</c:f>
              <c:numCache>
                <c:formatCode>General</c:formatCode>
                <c:ptCount val="2"/>
                <c:pt idx="0">
                  <c:v>32.146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9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Harry's</c:v>
                </c:pt>
              </c:strCache>
            </c:strRef>
          </c:cat>
          <c:val>
            <c:numRef>
              <c:f>Sheet1!$E$2:$E$3</c:f>
              <c:numCache>
                <c:formatCode>General</c:formatCode>
                <c:ptCount val="2"/>
                <c:pt idx="0">
                  <c:v>28.63540000000000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B$2:$B$7</c:f>
              <c:numCache>
                <c:formatCode>General</c:formatCode>
                <c:ptCount val="6"/>
                <c:pt idx="0">
                  <c:v>14.48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C$2:$C$7</c:f>
              <c:numCache>
                <c:formatCode>General</c:formatCode>
                <c:ptCount val="6"/>
                <c:pt idx="0">
                  <c:v>12.678100000000001</c:v>
                </c:pt>
                <c:pt idx="1">
                  <c:v>11.0337</c:v>
                </c:pt>
                <c:pt idx="3">
                  <c:v>8.9644999999999992</c:v>
                </c:pt>
                <c:pt idx="5">
                  <c:v>8.440099999999999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D$2:$D$7</c:f>
              <c:numCache>
                <c:formatCode>General</c:formatCode>
                <c:ptCount val="6"/>
                <c:pt idx="0">
                  <c:v>12.661199999999999</c:v>
                </c:pt>
                <c:pt idx="2">
                  <c:v>9.59190000000000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E$2:$E$7</c:f>
              <c:numCache>
                <c:formatCode>General</c:formatCode>
                <c:ptCount val="6"/>
                <c:pt idx="0">
                  <c:v>21.3492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F$2:$F$7</c:f>
              <c:numCache>
                <c:formatCode>General</c:formatCode>
                <c:ptCount val="6"/>
                <c:pt idx="0">
                  <c:v>23.4406</c:v>
                </c:pt>
                <c:pt idx="1">
                  <c:v>16.188099999999999</c:v>
                </c:pt>
                <c:pt idx="4">
                  <c:v>17.9598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G$2:$G$7</c:f>
              <c:numCache>
                <c:formatCode>General</c:formatCode>
                <c:ptCount val="6"/>
                <c:pt idx="0">
                  <c:v>20.9216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Schick</c:v>
                </c:pt>
                <c:pt idx="3">
                  <c:v>Dollar Shave Club</c:v>
                </c:pt>
                <c:pt idx="4">
                  <c:v>Van Der Hagen</c:v>
                </c:pt>
                <c:pt idx="5">
                  <c:v>Equate</c:v>
                </c:pt>
              </c:strCache>
            </c:strRef>
          </c:cat>
          <c:val>
            <c:numRef>
              <c:f>Sheet1!$H$2:$H$7</c:f>
              <c:numCache>
                <c:formatCode>General</c:formatCode>
                <c:ptCount val="6"/>
                <c:pt idx="0">
                  <c:v>28.53559999999999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Dollar Shave Club</c:v>
                </c:pt>
              </c:strCache>
            </c:strRef>
          </c:cat>
          <c:val>
            <c:numRef>
              <c:f>Sheet1!$B$2:$B$5</c:f>
              <c:numCache>
                <c:formatCode>General</c:formatCode>
                <c:ptCount val="4"/>
                <c:pt idx="0">
                  <c:v>26.9189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C$2:$C$5</c:f>
              <c:numCache>
                <c:formatCode>General</c:formatCode>
                <c:ptCount val="4"/>
                <c:pt idx="0">
                  <c:v>39.3748</c:v>
                </c:pt>
                <c:pt idx="1">
                  <c:v>24.325600000000001</c:v>
                </c:pt>
                <c:pt idx="2">
                  <c:v>25.8587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D$2:$D$5</c:f>
              <c:numCache>
                <c:formatCode>General</c:formatCode>
                <c:ptCount val="4"/>
                <c:pt idx="0">
                  <c:v>35.7867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E$2:$E$5</c:f>
              <c:numCache>
                <c:formatCode>General</c:formatCode>
                <c:ptCount val="4"/>
                <c:pt idx="0">
                  <c:v>39.3269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F$2:$F$5</c:f>
              <c:numCache>
                <c:formatCode>General</c:formatCode>
                <c:ptCount val="4"/>
                <c:pt idx="0">
                  <c:v>36.74110000000000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Dollar Shave Club</c:v>
                </c:pt>
              </c:strCache>
            </c:strRef>
          </c:cat>
          <c:val>
            <c:numRef>
              <c:f>Sheet1!$G$2:$G$5</c:f>
              <c:numCache>
                <c:formatCode>General</c:formatCode>
                <c:ptCount val="4"/>
                <c:pt idx="0">
                  <c:v>17.413499999999999</c:v>
                </c:pt>
                <c:pt idx="1">
                  <c:v>10.026400000000001</c:v>
                </c:pt>
                <c:pt idx="3">
                  <c:v>8.99629999999999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Dollar Shave Club</c:v>
                </c:pt>
              </c:strCache>
            </c:strRef>
          </c:cat>
          <c:val>
            <c:numRef>
              <c:f>Sheet1!$H$2:$H$5</c:f>
              <c:numCache>
                <c:formatCode>General</c:formatCode>
                <c:ptCount val="4"/>
                <c:pt idx="2">
                  <c:v>15.19400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I$2:$I$5</c:f>
              <c:numCache>
                <c:formatCode>General</c:formatCode>
                <c:ptCount val="4"/>
                <c:pt idx="0">
                  <c:v>29.696899999999999</c:v>
                </c:pt>
                <c:pt idx="1">
                  <c:v>17.10790000000000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CT</c:v>
                </c:pt>
              </c:strCache>
            </c:strRef>
          </c:tx>
          <c:spPr>
            <a:ln w="19050">
              <a:noFill/>
            </a:ln>
          </c:spPr>
          <c:marker>
            <c:symbol val="dash"/>
            <c:size val="20"/>
            <c:spPr>
              <a:solidFill>
                <a:srgbClr val="FFE5E5"/>
              </a:solidFill>
              <a:ln w="9525">
                <a:noFill/>
              </a:ln>
              <a:effectLst/>
            </c:spPr>
          </c:marker>
          <c:cat>
            <c:strRef>
              <c:f>Sheet1!$A$2:$A$2</c:f>
              <c:strCache>
                <c:ptCount val="1"/>
                <c:pt idx="0">
                  <c:v>Gillette</c:v>
                </c:pt>
              </c:strCache>
            </c:strRef>
          </c:cat>
          <c:val>
            <c:numRef>
              <c:f>Sheet1!$B$2:$B$2</c:f>
              <c:numCache>
                <c:formatCode>General</c:formatCode>
                <c:ptCount val="1"/>
                <c:pt idx="0">
                  <c:v>37.7269999999999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C$2:$C$2</c:f>
              <c:numCache>
                <c:formatCode>General</c:formatCode>
                <c:ptCount val="1"/>
                <c:pt idx="0">
                  <c:v>39.5174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D$2:$D$2</c:f>
              <c:numCache>
                <c:formatCode>General</c:formatCode>
                <c:ptCount val="1"/>
                <c:pt idx="0">
                  <c:v>37.042900000000003</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72CE23-BC3D-4B40-A722-9FF7D1C87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9A408B-1945-4342-8E7A-3D967672CB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57166EC-11B6-407B-8635-7EB9F6936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9F7EB50-D16D-4080-9BDE-8D1A1AE323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B31F20-40B9-4DCC-966C-5BBFEA115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D65C61-61B8-4414-A81C-C24C969596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612858-D41E-433F-8E11-FCABAA815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CA6C64F-28A5-4E6A-A251-24F7EDFDE4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7.5094000000000003</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0.56799999999999995</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B$2:$B$7</c:f>
              <c:numCache>
                <c:formatCode>General</c:formatCode>
                <c:ptCount val="6"/>
                <c:pt idx="5">
                  <c:v>2.9809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C$2:$C$7</c:f>
              <c:numCache>
                <c:formatCode>General</c:formatCode>
                <c:ptCount val="6"/>
                <c:pt idx="0">
                  <c:v>36.667000000000002</c:v>
                </c:pt>
                <c:pt idx="1">
                  <c:v>23.9633</c:v>
                </c:pt>
                <c:pt idx="2">
                  <c:v>26.196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D$2:$D$7</c:f>
              <c:numCache>
                <c:formatCode>General</c:formatCode>
                <c:ptCount val="6"/>
                <c:pt idx="0">
                  <c:v>16.250399999999999</c:v>
                </c:pt>
                <c:pt idx="1">
                  <c:v>9.9700000000000006</c:v>
                </c:pt>
                <c:pt idx="3">
                  <c:v>8.9642999999999997</c:v>
                </c:pt>
                <c:pt idx="4">
                  <c:v>8.9443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E$2:$E$7</c:f>
              <c:numCache>
                <c:formatCode>General</c:formatCode>
                <c:ptCount val="6"/>
                <c:pt idx="2">
                  <c:v>14.58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8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Schick</c:v>
                </c:pt>
                <c:pt idx="3">
                  <c:v>Dollar Shave Club</c:v>
                </c:pt>
                <c:pt idx="4">
                  <c:v>Equate</c:v>
                </c:pt>
                <c:pt idx="5">
                  <c:v>Van Der Hagen</c:v>
                </c:pt>
              </c:strCache>
            </c:strRef>
          </c:cat>
          <c:val>
            <c:numRef>
              <c:f>Sheet1!$F$2:$F$7</c:f>
              <c:numCache>
                <c:formatCode>General</c:formatCode>
                <c:ptCount val="6"/>
                <c:pt idx="0">
                  <c:v>26.998100000000001</c:v>
                </c:pt>
                <c:pt idx="1">
                  <c:v>16.950299999999999</c:v>
                </c:pt>
                <c:pt idx="3">
                  <c:v>16.9131</c:v>
                </c:pt>
                <c:pt idx="4">
                  <c:v>15.29460000000000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44919C-34F5-4133-B026-1909B7AD73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78A909-AE53-4F0F-BD4A-3DE2B3A8A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12C298-3AD0-4052-A7F8-45CA89DE2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99737EF-8868-4398-B0E0-822CB49AD4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073F38A-898D-4763-9BCA-D98E1E3E2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F239986-F9C9-43B6-ABE3-9F62B77AD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2C59639-F6B7-4630-88D8-1DAB46B4A5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8E8F88-748A-4E0D-8F91-35646D446C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7.37</c:v>
                </c:pt>
                <c:pt idx="7">
                  <c:v>6.1635</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32800000000000001</c:v>
                </c:pt>
                <c:pt idx="7">
                  <c:v>0.26700000000000002</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1189074</c:v>
                </c:pt>
                <c:pt idx="7">
                  <c:v>1089068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Comfort 3</c:v>
                  </c:pt>
                  <c:pt idx="7">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7E5F690-5B12-4BFB-B4D9-103762C72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B366A9-E458-4FC5-AAA0-75F367CE8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4FE67A2-85F0-4842-B088-B8428B1931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00AA691-23BA-4722-B063-01987C875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E1B0433-54A6-4BA2-A8E4-8393889F9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8272B2E-D822-4750-BA29-0FC34983C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FE47980-AD2D-4640-A8DF-79466C74DA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364FE63-AE44-445D-BF79-45E7A6989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699999999999</c:v>
                </c:pt>
                <c:pt idx="1">
                  <c:v>23.116800000000001</c:v>
                </c:pt>
              </c:numCache>
            </c:numRef>
          </c:xVal>
          <c:yVal>
            <c:numRef>
              <c:f>Sheet1!$B$2:$B$3</c:f>
              <c:numCache>
                <c:formatCode>General</c:formatCode>
                <c:ptCount val="2"/>
                <c:pt idx="0">
                  <c:v>1.004</c:v>
                </c:pt>
                <c:pt idx="1">
                  <c:v>0.86499999999999999</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4391782-0FA6-49F9-B43F-C18AAC683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5F4390-BDE1-4D59-8649-1F23987069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C692FB-69BE-4587-B8E1-2900A54126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737826-5571-43E8-AC04-1AC1C0490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5F6E3FE-2C71-42DB-A769-97C5A14F8A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C3A5968-07C1-4F7C-AAE2-055AEC370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6FA011D-CD41-46B3-ABE9-8236122B0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76E4AE2-CE7A-4100-A708-8993FE3E9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7.5094000000000003</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0.33900000000000002</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841EEB-7367-4BE2-97EA-BD766619D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35C747-FF85-41C1-AA71-A64B4CAD6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53999D4-944B-4A8A-9E42-32B50D921F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4544A7-8FE8-4F69-9609-601FFB319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1DB5DD-96D0-41AE-97DF-6A8C3C3A93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623E050-6EC3-4923-8CC0-68DD23B9E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C4555C-6F2F-456D-8706-E60B962AB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FD969C2-C297-469C-AB29-2D389C375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7DADAD-9DBA-45A4-8E02-3E2121802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9833210-28CE-4704-995D-6723A3C35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4EEBA4-B9A1-4994-8432-0B01B07D40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D465E3C-1E51-43E4-A887-7E3897DEB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F6612FF-6BB4-4BFE-9832-5E1915C97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6DE0EB1-74CA-43D6-BF8A-EEFB06305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DD4CE3C-D228-411F-9F0E-33A66D08A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1524942-9DA2-4B2E-B545-73804ED9E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36EC80-546B-4278-B082-82E8E75516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C5D509-C56D-4113-B04C-97CA42768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A29461-AA2B-48D2-8D08-FBC9DACFB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D012E7-12D4-472A-B6AF-9B436E839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D5CDC3D-D168-48DB-86FF-8DB017E608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057AC8D-2462-41D6-8B00-056BF5AFA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DAD4FA8-9638-4B7A-98AA-8C0EF80D2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36B23CD-BC9B-4873-908D-04C518F3D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16.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1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1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2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2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0.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54482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671734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43124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659503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57809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1878330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903172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99341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887968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205887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656270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5539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607203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40486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1293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66552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6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233326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Van Der Hage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79727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61192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8589251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63089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Van Der Hage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Van Der Hage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072830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884578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43610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885473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422770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993479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28448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31492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7969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19165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139650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8748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45053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603488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72725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65097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2515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98817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195259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852275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585874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890612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791138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51914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065598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4534140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95599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81462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51289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32261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TotalTime>
  <Words>3044</Words>
  <Application>Microsoft Office PowerPoint</Application>
  <PresentationFormat>On-screen Show (16:9)</PresentationFormat>
  <Paragraphs>793</Paragraphs>
  <Slides>36</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4</cp:revision>
  <dcterms:created xsi:type="dcterms:W3CDTF">2024-07-05T14:56:51Z</dcterms:created>
  <dcterms:modified xsi:type="dcterms:W3CDTF">2025-08-14T08:1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